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256" r:id="rId5"/>
    <p:sldId id="2147375615" r:id="rId6"/>
    <p:sldId id="4848" r:id="rId7"/>
    <p:sldId id="2147375597" r:id="rId8"/>
    <p:sldId id="2147375600" r:id="rId9"/>
    <p:sldId id="2147375617" r:id="rId10"/>
    <p:sldId id="2147375601" r:id="rId11"/>
    <p:sldId id="2147375602" r:id="rId12"/>
    <p:sldId id="2147375603" r:id="rId13"/>
    <p:sldId id="2147375604" r:id="rId14"/>
    <p:sldId id="2147375605" r:id="rId15"/>
    <p:sldId id="2147375618" r:id="rId16"/>
    <p:sldId id="2147375606" r:id="rId17"/>
    <p:sldId id="2147375607" r:id="rId18"/>
    <p:sldId id="2147375608" r:id="rId19"/>
    <p:sldId id="2147375609" r:id="rId20"/>
    <p:sldId id="2147375619" r:id="rId21"/>
    <p:sldId id="2147375610" r:id="rId22"/>
    <p:sldId id="2147375611" r:id="rId23"/>
    <p:sldId id="2147375612" r:id="rId24"/>
    <p:sldId id="2147375613" r:id="rId25"/>
    <p:sldId id="2147375614" r:id="rId26"/>
    <p:sldId id="1633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3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2.png"/><Relationship Id="rId5" Type="http://schemas.openxmlformats.org/officeDocument/2006/relationships/hyperlink" Target="https://github.com/nayan-Khemka/BootCamp" TargetMode="External"/><Relationship Id="rId4" Type="http://schemas.openxmlformats.org/officeDocument/2006/relationships/image" Target="../media/image22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2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3.jpeg"/><Relationship Id="rId4" Type="http://schemas.openxmlformats.org/officeDocument/2006/relationships/image" Target="../media/image22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2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Nayan Khemk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06-Sept-2024</a:t>
            </a:r>
          </a:p>
        </p:txBody>
      </p:sp>
      <p:pic>
        <p:nvPicPr>
          <p:cNvPr id="2" name="Picture 1" descr="A person wearing glasses smiling&#10;&#10;Description automatically generated">
            <a:extLst>
              <a:ext uri="{FF2B5EF4-FFF2-40B4-BE49-F238E27FC236}">
                <a16:creationId xmlns:a16="http://schemas.microsoft.com/office/drawing/2014/main" id="{E8F8C98F-2A1A-CCFF-51FD-F613608978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470" y="308927"/>
            <a:ext cx="2933700" cy="3781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1105892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Skill Development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: Gain hands-on experience with new DevOps tools and practices that can be applied to Azure DevOps projects.</a:t>
            </a:r>
          </a:p>
          <a:p>
            <a:pPr algn="l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Integration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: Learn how to integrate GitHub with Azure DevOps for a seamless workflow, using GitHub for source control and Azure DevOps for CI/CD pipelines.</a:t>
            </a:r>
          </a:p>
          <a:p>
            <a:pPr algn="l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Best Practices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: Adopt industry best practices and tools to improve efficiency and collaboration within your Azure DevOps environment.</a:t>
            </a:r>
          </a:p>
          <a:p>
            <a:pPr algn="l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Community Support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: Connect with a community of practitioners for knowledge sharing, troubleshooting, and staying updated with the latest trends.</a:t>
            </a:r>
          </a:p>
          <a:p>
            <a:pPr algn="l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Organizational Benefits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: Use the knowledge gained to train employees, improve processes, and experiment with new tools and methodologies in a controlled environment.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11281634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/>
              <a:t>DBMS allows you to store, organize, and retrieve large amounts of data efficiently. This is crucial for managing information in a structured and accessible manner. It provides robust security features to protect your data from unauthorized access and ensures data integrity by maintaining accuracy and consistency.</a:t>
            </a:r>
          </a:p>
          <a:p>
            <a:pPr marL="0" indent="0">
              <a:buNone/>
            </a:pPr>
            <a:r>
              <a:rPr lang="en-GB" sz="2000" dirty="0"/>
              <a:t>By automating repetitive tasks and providing tools for data analysis, a DBMS can significantly enhance productivity. This is especially useful in business environments where quick access to data is essential.</a:t>
            </a:r>
          </a:p>
          <a:p>
            <a:pPr marL="0" indent="0">
              <a:buNone/>
            </a:pPr>
            <a:r>
              <a:rPr lang="en-GB" sz="2000" dirty="0"/>
              <a:t>DBMS systems are designed to handle growing amounts of data and can be scaled up as needed. They also offer flexibility in terms of data manipulation and reporting.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1092684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/>
              <a:t>Read the Source Thoroughly: Understand the main ideas and arguments by reading the text multiple times.</a:t>
            </a:r>
          </a:p>
          <a:p>
            <a:r>
              <a:rPr lang="en-GB" sz="2000" dirty="0"/>
              <a:t>Identify Core Information: Focus on the most important points, avoiding minor details and examples.</a:t>
            </a:r>
          </a:p>
          <a:p>
            <a:r>
              <a:rPr lang="en-GB" sz="2000" dirty="0"/>
              <a:t>Reflect the Author’s Intention: Ensure your summary accurately represents the original text’s purpose and message.</a:t>
            </a:r>
          </a:p>
          <a:p>
            <a:r>
              <a:rPr lang="en-GB" sz="2000" dirty="0"/>
              <a:t>Write Concisely: Use your own words to condense the information into a shorter form, maintaining clarity and coherence.</a:t>
            </a: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1766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mplementing Testing concepts on Azure was simple. Understanding the Fitnesse tool and Junit was a bit confusing at first, but the facilitators were very helpful in making us understand how to write different test cases and begin TDD.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D4389E7-A416-B7F7-49CF-2A0201A7F0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74304" y="2702577"/>
            <a:ext cx="5003696" cy="2393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Understanding how </a:t>
            </a:r>
            <a:r>
              <a:rPr lang="en-US" sz="2000" dirty="0" err="1"/>
              <a:t>yml</a:t>
            </a:r>
            <a:r>
              <a:rPr lang="en-US" sz="2000" dirty="0"/>
              <a:t> and workflow files work was new to me and interesting. Seeing the project being deployed on GitHub pages was interesting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:</a:t>
            </a:r>
          </a:p>
          <a:p>
            <a:pPr marL="0" indent="0">
              <a:buNone/>
            </a:pPr>
            <a:r>
              <a:rPr lang="en-US" sz="2000" dirty="0">
                <a:hlinkClick r:id="rId5"/>
              </a:rPr>
              <a:t>https://github.com/nayan-Khemka/BootCamp</a:t>
            </a:r>
            <a:r>
              <a:rPr lang="en-US" sz="2000" dirty="0"/>
              <a:t>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A7657-AAE1-E025-5569-E128414CE3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95306" y="2693390"/>
            <a:ext cx="5161692" cy="2411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Created database and tables on </a:t>
            </a:r>
            <a:r>
              <a:rPr lang="en-US" sz="2000" dirty="0" err="1"/>
              <a:t>PostGressql</a:t>
            </a:r>
            <a:r>
              <a:rPr lang="en-US" sz="2000" dirty="0"/>
              <a:t> and executed various different queries.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B915E76-2474-8C15-EB7C-28EE63A78B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3534" y="2132115"/>
            <a:ext cx="4695825" cy="3354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4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Created virtual machine on Microsoft Azure and tested it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B9F3F85-E838-127C-5126-59FD346722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1551" y="2627486"/>
            <a:ext cx="5029202" cy="2326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5189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 the final Use case assessment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 Friday apply all the learnings on a particular Use Case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Life is what you make it so let’s make it rock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Image result for motivational imagery representing a professional">
            <a:extLst>
              <a:ext uri="{FF2B5EF4-FFF2-40B4-BE49-F238E27FC236}">
                <a16:creationId xmlns:a16="http://schemas.microsoft.com/office/drawing/2014/main" id="{9A374EBD-A7F4-F887-5D91-083AA9AD48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015" y="2569695"/>
            <a:ext cx="4210050" cy="2600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18932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Hands on practice and activities helped to understand how things actually happen on Azure Cloud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82DA97-3912-E3B2-F0BC-0313D71464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2080" y="2858235"/>
            <a:ext cx="5241748" cy="2284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2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/>
              <a:t>Different Stages of STLC</a:t>
            </a:r>
          </a:p>
          <a:p>
            <a:r>
              <a:rPr lang="en-GB" sz="2000" dirty="0"/>
              <a:t>Different types of testing</a:t>
            </a:r>
          </a:p>
          <a:p>
            <a:r>
              <a:rPr lang="en-GB" sz="2000" dirty="0"/>
              <a:t>TDD – Junit and </a:t>
            </a:r>
            <a:r>
              <a:rPr lang="en-GB" sz="2000" dirty="0" err="1"/>
              <a:t>Fitnesse</a:t>
            </a:r>
            <a:r>
              <a:rPr lang="en-GB" sz="2000" dirty="0"/>
              <a:t> Tool</a:t>
            </a:r>
          </a:p>
          <a:p>
            <a:r>
              <a:rPr lang="en-GB" sz="2000" dirty="0"/>
              <a:t>Open-source projects</a:t>
            </a:r>
          </a:p>
          <a:p>
            <a:r>
              <a:rPr lang="en-GB" sz="2000" dirty="0"/>
              <a:t>Repositories and deployment</a:t>
            </a:r>
          </a:p>
          <a:p>
            <a:r>
              <a:rPr lang="en-GB" sz="2000" dirty="0"/>
              <a:t>Pull and Push Request</a:t>
            </a:r>
          </a:p>
          <a:p>
            <a:r>
              <a:rPr lang="en-GB" sz="2000" dirty="0"/>
              <a:t>Commits and merging branches</a:t>
            </a:r>
          </a:p>
          <a:p>
            <a:r>
              <a:rPr lang="en-GB" sz="2000" dirty="0"/>
              <a:t>Workflows and Actions on GitHub</a:t>
            </a:r>
          </a:p>
          <a:p>
            <a:r>
              <a:rPr lang="en-GB" sz="2000" dirty="0"/>
              <a:t>Issues and Reviewing Code</a:t>
            </a:r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oftware Testing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GB" sz="2000" dirty="0"/>
              <a:t>A test is an activity in which system or component is executed under specific conditions to evaluate it.</a:t>
            </a:r>
          </a:p>
          <a:p>
            <a:r>
              <a:rPr lang="en-GB" sz="2000" dirty="0"/>
              <a:t>Software Testing is the process of evaluating a deliverable with the intent of finding the error</a:t>
            </a:r>
          </a:p>
          <a:p>
            <a:r>
              <a:rPr lang="en-GB" sz="2000" dirty="0"/>
              <a:t>Different Stages of STLC</a:t>
            </a:r>
          </a:p>
          <a:p>
            <a:r>
              <a:rPr lang="en-GB" sz="2000" dirty="0"/>
              <a:t>Different types of testing</a:t>
            </a:r>
          </a:p>
          <a:p>
            <a:r>
              <a:rPr lang="en-GB" sz="2000" dirty="0"/>
              <a:t>TDD – Junit and Fitnesse Tool</a:t>
            </a:r>
          </a:p>
          <a:p>
            <a:endParaRPr lang="en-GB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30" name="Picture 6" descr="Image result for software testing">
            <a:extLst>
              <a:ext uri="{FF2B5EF4-FFF2-40B4-BE49-F238E27FC236}">
                <a16:creationId xmlns:a16="http://schemas.microsoft.com/office/drawing/2014/main" id="{CD7F03D2-20FB-8FA5-27F5-DF91914C6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4824" y="1686282"/>
            <a:ext cx="4994414" cy="4280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DevOps on GitHub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GB" sz="2000" dirty="0"/>
              <a:t>Open-source projects</a:t>
            </a:r>
          </a:p>
          <a:p>
            <a:r>
              <a:rPr lang="en-GB" sz="2000" dirty="0"/>
              <a:t>Repositories and deployment</a:t>
            </a:r>
          </a:p>
          <a:p>
            <a:r>
              <a:rPr lang="en-GB" sz="2000" dirty="0"/>
              <a:t>Pull and Push Request</a:t>
            </a:r>
          </a:p>
          <a:p>
            <a:r>
              <a:rPr lang="en-GB" sz="2000" dirty="0"/>
              <a:t>Commits and merging branches</a:t>
            </a:r>
          </a:p>
          <a:p>
            <a:r>
              <a:rPr lang="en-GB" sz="2000" dirty="0"/>
              <a:t>Workflows and Actions on GitHub</a:t>
            </a:r>
          </a:p>
          <a:p>
            <a:r>
              <a:rPr lang="en-GB" sz="2000" dirty="0"/>
              <a:t>Issues and Reviewing Code</a:t>
            </a: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17A92D-6045-6908-9DEA-32BAC1BB93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45045" y="2608793"/>
            <a:ext cx="394335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265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DBMS</a:t>
            </a:r>
          </a:p>
          <a:p>
            <a:r>
              <a:rPr lang="en-US" sz="2000" dirty="0"/>
              <a:t>Database Management </a:t>
            </a:r>
          </a:p>
          <a:p>
            <a:r>
              <a:rPr lang="en-US" sz="2000" dirty="0"/>
              <a:t>Constraints and Triggers</a:t>
            </a:r>
          </a:p>
          <a:p>
            <a:r>
              <a:rPr lang="en-US" sz="2000" dirty="0" err="1"/>
              <a:t>PostGresql</a:t>
            </a:r>
            <a:endParaRPr lang="en-US" sz="2000" dirty="0"/>
          </a:p>
          <a:p>
            <a:r>
              <a:rPr lang="en-US" sz="2000" dirty="0"/>
              <a:t>DDL, DML, DCL</a:t>
            </a:r>
          </a:p>
          <a:p>
            <a:r>
              <a:rPr lang="en-US" sz="2000" dirty="0"/>
              <a:t>This will </a:t>
            </a:r>
            <a:r>
              <a:rPr lang="en-GB" sz="2000" dirty="0"/>
              <a:t>help me efficiently manage and store vast amounts of data generated from various sources like smart meters, sensors, and IoT devices.</a:t>
            </a:r>
          </a:p>
          <a:p>
            <a:r>
              <a:rPr lang="en-US" sz="2000" dirty="0"/>
              <a:t>This will also help me </a:t>
            </a:r>
            <a:r>
              <a:rPr lang="en-GB" sz="2000" dirty="0" err="1"/>
              <a:t>analyze</a:t>
            </a:r>
            <a:r>
              <a:rPr lang="en-GB" sz="2000" dirty="0"/>
              <a:t> large datasets to optimize energy usage, predict demand, and improve energy distribution</a:t>
            </a: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18C913-403F-DE6C-40D7-4C61D518A8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25111" y="2567028"/>
            <a:ext cx="5314535" cy="266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374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265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000" dirty="0"/>
              <a:t>Cloud</a:t>
            </a:r>
          </a:p>
          <a:p>
            <a:r>
              <a:rPr lang="en-GB" sz="2000" dirty="0"/>
              <a:t>Private, Public and Hybrid Cloud</a:t>
            </a:r>
          </a:p>
          <a:p>
            <a:r>
              <a:rPr lang="en-GB" sz="2000" dirty="0"/>
              <a:t>IaaS, SaaS and PaaS</a:t>
            </a:r>
          </a:p>
          <a:p>
            <a:r>
              <a:rPr lang="en-GB" sz="2000" dirty="0"/>
              <a:t>Benefits of cloud applications</a:t>
            </a:r>
          </a:p>
          <a:p>
            <a:r>
              <a:rPr lang="en-GB" sz="2000" dirty="0" err="1"/>
              <a:t>Teraform</a:t>
            </a:r>
            <a:endParaRPr lang="en-GB" sz="2000" dirty="0"/>
          </a:p>
          <a:p>
            <a:r>
              <a:rPr lang="en-GB" sz="2000" dirty="0"/>
              <a:t>Different examples of PaaS, </a:t>
            </a:r>
            <a:r>
              <a:rPr lang="en-GB" sz="2000" dirty="0" err="1"/>
              <a:t>Iaas</a:t>
            </a:r>
            <a:r>
              <a:rPr lang="en-GB" sz="2000" dirty="0"/>
              <a:t> and SaaS</a:t>
            </a: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CDDBDA-DA64-43F3-81C7-570F15306E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28473" y="2613238"/>
            <a:ext cx="3629025" cy="257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668065" y="1618711"/>
            <a:ext cx="10689746" cy="463571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oftware testing can significantly benefit me while working in Shell in several ways:</a:t>
            </a:r>
          </a:p>
          <a:p>
            <a:pPr algn="just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Quality Assurance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nsures that the software meets the required standards and functions correctly, reducing the risk of bugs and errors.</a:t>
            </a:r>
          </a:p>
          <a:p>
            <a:pPr algn="just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ost Efficiency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dentifying and fixing issues early in the development process can save time and money compared to addressing them after deployment.</a:t>
            </a:r>
          </a:p>
          <a:p>
            <a:pPr algn="just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ecurity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Helps in identifying vulnerabilities and security flaws, protecting sensitive data and maintaining the integrity of the software.</a:t>
            </a:r>
          </a:p>
          <a:p>
            <a:pPr algn="just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ompliance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nsures that the software complies with industry standards and regulations, avoiding legal issues.</a:t>
            </a:r>
          </a:p>
          <a:p>
            <a:pPr algn="just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erformance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Verifies that the software performs well under various conditions, ensuring a smooth user experience.</a:t>
            </a: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48</TotalTime>
  <Words>942</Words>
  <Application>Microsoft Office PowerPoint</Application>
  <PresentationFormat>Widescreen</PresentationFormat>
  <Paragraphs>115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Learning 4 | My takeaways</vt:lpstr>
      <vt:lpstr>PowerPoint Presentation</vt:lpstr>
      <vt:lpstr>Learning 1 | Relevance for Shell</vt:lpstr>
      <vt:lpstr>Learning 2 | Relevance for Shell</vt:lpstr>
      <vt:lpstr>Learning 3 | Relevance for Shell</vt:lpstr>
      <vt:lpstr>Learning 4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Challenge faced while implementing Learning 4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Khemka, Nayan SBOBNG-PTIY/TAF8</cp:lastModifiedBy>
  <cp:revision>503</cp:revision>
  <dcterms:created xsi:type="dcterms:W3CDTF">2022-01-18T12:35:56Z</dcterms:created>
  <dcterms:modified xsi:type="dcterms:W3CDTF">2024-09-06T03:4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